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sldIdLst>
    <p:sldId id="256" r:id="rId5"/>
    <p:sldId id="258" r:id="rId6"/>
    <p:sldId id="259" r:id="rId7"/>
    <p:sldId id="260" r:id="rId8"/>
    <p:sldId id="261" r:id="rId9"/>
    <p:sldId id="264" r:id="rId10"/>
    <p:sldId id="265" r:id="rId11"/>
    <p:sldId id="266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868B5"/>
    <a:srgbClr val="1F4B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714"/>
    <p:restoredTop sz="96327"/>
  </p:normalViewPr>
  <p:slideViewPr>
    <p:cSldViewPr snapToGrid="0" snapToObjects="1">
      <p:cViewPr varScale="1">
        <p:scale>
          <a:sx n="121" d="100"/>
          <a:sy n="121" d="100"/>
        </p:scale>
        <p:origin x="192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C58D35-7FD8-5841-BC6F-8C5D05CCC5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C7E2604-CDC2-9448-A34B-6C2D3CE4387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6307AC7-5C69-434B-9DF1-A5F6689CD0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115435A-99E3-054A-A547-C713AA3EE7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341A83-A89E-0345-A76D-6DCC055F82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5773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3E223A-78EB-CB4B-A169-95480D6229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DB4CB35-7EB1-ED4B-A496-B02EE93D232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9F3718-099E-BF42-93BB-57F9E65E48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9D0A9-D018-DE43-B74B-1FA2204F92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6DD3D3-01AD-9340-895A-2B862155AF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51495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588C152-813E-3A48-8C08-AC8415C792A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C093C3-5A42-D847-85D3-F923A193CB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F7C0A6-6281-DD4E-907E-B7F988EDC3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4A660B-96AF-6D4E-95B1-3F7422BFA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ED774-00CC-AB48-B26A-F952A7E049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780882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7BB8AB8-4FAD-C74E-B389-3B319C81AE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EEC4F8-AA1B-A043-9045-FE25EB5FC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EB970CB-111F-9B4A-B940-FE7D428CD2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B228B2-D01C-DF4C-8B9E-730A1638CA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A69FC8F-15AA-C347-91F8-0B54CD7A99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87947"/>
            <a:ext cx="10515600" cy="387798"/>
          </a:xfrm>
          <a:prstGeom prst="rect">
            <a:avLst/>
          </a:prstGeom>
        </p:spPr>
        <p:txBody>
          <a:bodyPr/>
          <a:lstStyle>
            <a:lvl1pPr marL="95250" indent="0">
              <a:tabLst/>
              <a:defRPr lang="en-US" sz="28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6A3666EF-6BBC-DC4F-A979-3A0445424A4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538743"/>
            <a:ext cx="9792000" cy="276999"/>
          </a:xfrm>
        </p:spPr>
        <p:txBody>
          <a:bodyPr>
            <a:noAutofit/>
          </a:bodyPr>
          <a:lstStyle>
            <a:lvl1pPr marL="0" indent="0">
              <a:buNone/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5200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528850-453B-114A-954C-53E281E28C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799E87-F180-2C41-BF01-C4CDB21FD0B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F03A75B-79A4-CF45-A3CC-7F1D400FE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D3602E-DEDC-2E43-A286-43A8A8CE29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D9CCA5A-AB05-1E43-8C50-52C627723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671782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F89264-C6B4-9A4C-BDAC-1F4F53CE89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91CCF8-A0F0-3A45-B582-DAB5B55FD6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97690D-C4CA-3C40-B61E-11EFBF1402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75C90C-DC32-7A47-A8D4-ECDCB49173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143763C-8235-AF4A-B8A2-AF9053B15B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EEC00D5-508E-854B-8CB6-CDF1BD128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9921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006501-77CE-B543-A79E-B6DB880AC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AB2820-8A2B-E944-8DE5-F73752D9C94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BF0542B-8086-6447-8A02-B4DC6970E30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D2E8F-E739-6046-B159-53A21B5999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63CBAA2-5F9E-7448-AD95-EAAF051DFF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8ACE18E-4CEC-FD49-B254-71FBD05DB7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BB7F6C9-3A92-D34D-A105-6841CA4BA8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F05B7D-845A-1D45-A67E-014E159928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988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CC0C04D-26BE-3A43-8DEE-ECCC8E8A21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916823"/>
            <a:ext cx="10515600" cy="387798"/>
          </a:xfrm>
          <a:prstGeom prst="rect">
            <a:avLst/>
          </a:prstGeom>
        </p:spPr>
        <p:txBody>
          <a:bodyPr/>
          <a:lstStyle>
            <a:lvl1pPr marL="95250" indent="0">
              <a:tabLst/>
              <a:defRPr lang="en-US" sz="28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8724249-2C52-054F-ACFD-F1ABED12E6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B34D702-20A7-BF47-987E-FFBDABCDB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1306443-E5DC-6C47-9603-499D95173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392347C-D6C9-E34B-88CF-03C85572AD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567619"/>
            <a:ext cx="9792000" cy="276999"/>
          </a:xfrm>
        </p:spPr>
        <p:txBody>
          <a:bodyPr>
            <a:noAutofit/>
          </a:bodyPr>
          <a:lstStyle>
            <a:lvl1pPr marL="0" indent="0">
              <a:buNone/>
              <a:defRPr lang="en-US" sz="18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28600" lvl="0" indent="-228600" algn="l" defTabSz="914400" rtl="0" eaLnBrk="1" latinLnBrk="0" hangingPunct="1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71520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3D0B6C-7C0D-EF42-B0E6-7F27CB0669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EA798F-5F51-854F-BF40-779A3BC7D4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D89EAD-A86D-F345-A0B7-1BF98274CE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79429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66E91E-59D3-F240-8C8A-CBD386E9EC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A4842B-ADD5-7B4E-B430-8CDD78BE3D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45D8F6-9296-6A41-9047-BA7C29C0425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501FF5F-B6F9-E74E-9E82-B944B9D9CFE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F72B01-3B75-814F-A89F-46FAE2692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2CD467-3118-2A4D-972B-D72E8BF1E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3896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553ABA-6403-314B-8A82-1B17D02B1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6B3FE8-29B7-E64C-817E-F37B584B2C2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79BF018-E9B3-9146-BDAC-E23823E1DA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BAFB220-BF6B-844F-90CB-0195CBD23C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BB3A2D-5F41-CC43-9896-34BBECF684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26A566-0CB7-C84C-A793-B89CBB5897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6518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858EFA-EEA9-A946-863E-102DE2973D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AFA354-1996-A046-A961-6CC086B69A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F64CA6-1755-6241-A701-33CC2EFBF9AA}" type="datetimeFigureOut">
              <a:rPr lang="en-US" smtClean="0"/>
              <a:t>10/20/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A6FB13-AD21-334B-B0E3-DCF42637E1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499BF4-4DDB-DC42-BE86-9C72BDDF8F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A9D6652-B56A-BD4B-96D7-2DEDEA2E06A1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Line Bottom">
            <a:extLst>
              <a:ext uri="{FF2B5EF4-FFF2-40B4-BE49-F238E27FC236}">
                <a16:creationId xmlns:a16="http://schemas.microsoft.com/office/drawing/2014/main" id="{3C2D7CE0-CF56-1844-BC45-1795C7E1FC6E}"/>
              </a:ext>
            </a:extLst>
          </p:cNvPr>
          <p:cNvCxnSpPr>
            <a:cxnSpLocks/>
          </p:cNvCxnSpPr>
          <p:nvPr userDrawn="1">
            <p:custDataLst>
              <p:tags r:id="rId13"/>
            </p:custDataLst>
          </p:nvPr>
        </p:nvCxnSpPr>
        <p:spPr bwMode="gray">
          <a:xfrm>
            <a:off x="838200" y="457200"/>
            <a:ext cx="105156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C303FCDB-4D97-AA44-909C-EC903FDC42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863815"/>
            <a:ext cx="10515600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1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2800" b="1" kern="1200" dirty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2104DF-4EEF-674A-BE7C-DC174FD3D2F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2678966"/>
            <a:ext cx="9144000" cy="830997"/>
          </a:xfrm>
        </p:spPr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3A152F-F09E-1B48-8148-0244CB2EB64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rogress Report</a:t>
            </a:r>
            <a:endParaRPr lang="en-US" dirty="0"/>
          </a:p>
          <a:p>
            <a:endParaRPr lang="en-US" dirty="0"/>
          </a:p>
          <a:p>
            <a:r>
              <a:rPr lang="en-US" dirty="0"/>
              <a:t>Status as of {</a:t>
            </a:r>
            <a:r>
              <a:rPr lang="en-US" dirty="0" err="1"/>
              <a:t>StatusReportThis.ReportDate</a:t>
            </a:r>
            <a:r>
              <a:rPr lang="en-US" dirty="0"/>
              <a:t>}</a:t>
            </a:r>
            <a:endParaRPr lang="en-IN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7485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us Upda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8514688-031B-BB4D-800B-8E099023A5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2623438"/>
              </p:ext>
            </p:extLst>
          </p:nvPr>
        </p:nvGraphicFramePr>
        <p:xfrm>
          <a:off x="838200" y="1683920"/>
          <a:ext cx="10509985" cy="222827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54667">
                  <a:extLst>
                    <a:ext uri="{9D8B030D-6E8A-4147-A177-3AD203B41FA5}">
                      <a16:colId xmlns:a16="http://schemas.microsoft.com/office/drawing/2014/main" val="2471816279"/>
                    </a:ext>
                  </a:extLst>
                </a:gridCol>
                <a:gridCol w="2398486">
                  <a:extLst>
                    <a:ext uri="{9D8B030D-6E8A-4147-A177-3AD203B41FA5}">
                      <a16:colId xmlns:a16="http://schemas.microsoft.com/office/drawing/2014/main" val="163091980"/>
                    </a:ext>
                  </a:extLst>
                </a:gridCol>
                <a:gridCol w="691224">
                  <a:extLst>
                    <a:ext uri="{9D8B030D-6E8A-4147-A177-3AD203B41FA5}">
                      <a16:colId xmlns:a16="http://schemas.microsoft.com/office/drawing/2014/main" val="1938912431"/>
                    </a:ext>
                  </a:extLst>
                </a:gridCol>
                <a:gridCol w="981777">
                  <a:extLst>
                    <a:ext uri="{9D8B030D-6E8A-4147-A177-3AD203B41FA5}">
                      <a16:colId xmlns:a16="http://schemas.microsoft.com/office/drawing/2014/main" val="2937394860"/>
                    </a:ext>
                  </a:extLst>
                </a:gridCol>
                <a:gridCol w="991402">
                  <a:extLst>
                    <a:ext uri="{9D8B030D-6E8A-4147-A177-3AD203B41FA5}">
                      <a16:colId xmlns:a16="http://schemas.microsoft.com/office/drawing/2014/main" val="3553932622"/>
                    </a:ext>
                  </a:extLst>
                </a:gridCol>
                <a:gridCol w="1049153">
                  <a:extLst>
                    <a:ext uri="{9D8B030D-6E8A-4147-A177-3AD203B41FA5}">
                      <a16:colId xmlns:a16="http://schemas.microsoft.com/office/drawing/2014/main" val="2356597197"/>
                    </a:ext>
                  </a:extLst>
                </a:gridCol>
                <a:gridCol w="943276">
                  <a:extLst>
                    <a:ext uri="{9D8B030D-6E8A-4147-A177-3AD203B41FA5}">
                      <a16:colId xmlns:a16="http://schemas.microsoft.com/office/drawing/2014/main" val="2318090621"/>
                    </a:ext>
                  </a:extLst>
                </a:gridCol>
              </a:tblGrid>
              <a:tr h="271780">
                <a:tc gridSpan="7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dirty="0">
                          <a:effectLst/>
                        </a:rPr>
                        <a:t>Status as of: {</a:t>
                      </a:r>
                      <a:r>
                        <a:rPr lang="en-US" sz="1200" dirty="0" err="1">
                          <a:effectLst/>
                        </a:rPr>
                        <a:t>StatusReportThis.ReportDate</a:t>
                      </a:r>
                      <a:r>
                        <a:rPr lang="en-US" sz="12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1999490"/>
                  </a:ext>
                </a:extLst>
              </a:tr>
              <a:tr h="38671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Owner: 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Project.Owners.Nam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</a:rPr>
                        <a:t>Primary Managers: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 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Project.PrimaryPMs.Nam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Current RAG: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Current RAG: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StatusReportThis.RAGStatus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[BK_COLOR]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Previous RAG: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StatusReportLast.RAGStatus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[BK_COLOR]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039200"/>
                  </a:ext>
                </a:extLst>
              </a:tr>
              <a:tr h="271780">
                <a:tc gridSpan="7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Project Status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StatusReportThis.Straplin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9695303"/>
                  </a:ext>
                </a:extLst>
              </a:tr>
              <a:tr h="271780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Key Accomplishments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StatusReportThis.AchievementsPlain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effectLst/>
                        </a:rPr>
                        <a:t>Upcoming Key Activities</a:t>
                      </a:r>
                      <a:b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</a:b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</a:rPr>
                        <a:t>StatusReportThis.NextStepsPlain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800" dirty="0">
                          <a:solidFill>
                            <a:schemeClr val="tx1"/>
                          </a:solidFill>
                          <a:effectLst/>
                        </a:rPr>
                        <a:t> </a:t>
                      </a:r>
                      <a:endParaRPr lang="en-GB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028620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5559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oadmap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EA4709CC-E524-8C4C-9064-2081E4EBF66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41366499"/>
              </p:ext>
            </p:extLst>
          </p:nvPr>
        </p:nvGraphicFramePr>
        <p:xfrm>
          <a:off x="941387" y="1496314"/>
          <a:ext cx="10412412" cy="46863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412412">
                  <a:extLst>
                    <a:ext uri="{9D8B030D-6E8A-4147-A177-3AD203B41FA5}">
                      <a16:colId xmlns:a16="http://schemas.microsoft.com/office/drawing/2014/main" val="3024365945"/>
                    </a:ext>
                  </a:extLst>
                </a:gridCol>
              </a:tblGrid>
              <a:tr h="4686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IMAGE_SCHEDULE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49999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931093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hedu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AB9CC3AF-DA49-624F-AB6E-A775107A03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6367447"/>
              </p:ext>
            </p:extLst>
          </p:nvPr>
        </p:nvGraphicFramePr>
        <p:xfrm>
          <a:off x="838200" y="1603429"/>
          <a:ext cx="10515601" cy="99262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84283">
                  <a:extLst>
                    <a:ext uri="{9D8B030D-6E8A-4147-A177-3AD203B41FA5}">
                      <a16:colId xmlns:a16="http://schemas.microsoft.com/office/drawing/2014/main" val="2126766010"/>
                    </a:ext>
                  </a:extLst>
                </a:gridCol>
                <a:gridCol w="1545020">
                  <a:extLst>
                    <a:ext uri="{9D8B030D-6E8A-4147-A177-3AD203B41FA5}">
                      <a16:colId xmlns:a16="http://schemas.microsoft.com/office/drawing/2014/main" val="3917957727"/>
                    </a:ext>
                  </a:extLst>
                </a:gridCol>
                <a:gridCol w="998483">
                  <a:extLst>
                    <a:ext uri="{9D8B030D-6E8A-4147-A177-3AD203B41FA5}">
                      <a16:colId xmlns:a16="http://schemas.microsoft.com/office/drawing/2014/main" val="2513432460"/>
                    </a:ext>
                  </a:extLst>
                </a:gridCol>
                <a:gridCol w="1061545">
                  <a:extLst>
                    <a:ext uri="{9D8B030D-6E8A-4147-A177-3AD203B41FA5}">
                      <a16:colId xmlns:a16="http://schemas.microsoft.com/office/drawing/2014/main" val="662376358"/>
                    </a:ext>
                  </a:extLst>
                </a:gridCol>
                <a:gridCol w="1313793">
                  <a:extLst>
                    <a:ext uri="{9D8B030D-6E8A-4147-A177-3AD203B41FA5}">
                      <a16:colId xmlns:a16="http://schemas.microsoft.com/office/drawing/2014/main" val="863705855"/>
                    </a:ext>
                  </a:extLst>
                </a:gridCol>
                <a:gridCol w="3912477">
                  <a:extLst>
                    <a:ext uri="{9D8B030D-6E8A-4147-A177-3AD203B41FA5}">
                      <a16:colId xmlns:a16="http://schemas.microsoft.com/office/drawing/2014/main" val="2678654844"/>
                    </a:ext>
                  </a:extLst>
                </a:gridCol>
              </a:tblGrid>
              <a:tr h="55187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100">
                          <a:effectLst/>
                        </a:rPr>
                        <a:t>{@Schedule}ID and Typ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CA" sz="1100">
                          <a:effectLst/>
                        </a:rPr>
                        <a:t>Titl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>
                          <a:effectLst/>
                        </a:rPr>
                        <a:t>Start 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>
                          <a:effectLst/>
                        </a:rPr>
                        <a:t>Due 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Owner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Attached Documen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8132908"/>
                  </a:ext>
                </a:extLst>
              </a:tr>
              <a:tr h="44075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</a:rPr>
                        <a:t>#{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ShortCode</a:t>
                      </a:r>
                      <a:r>
                        <a:rPr lang="en-GB" sz="1100" b="0" dirty="0">
                          <a:solidFill>
                            <a:schemeClr val="tx1"/>
                          </a:solidFill>
                          <a:effectLst/>
                        </a:rPr>
                        <a:t>} {TaskType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Titl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StartDat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DueDat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Owner.Name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{AttachedDocumentDetails}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296793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8994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220D604-5ED5-954B-9339-328D7B0839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46493701"/>
              </p:ext>
            </p:extLst>
          </p:nvPr>
        </p:nvGraphicFramePr>
        <p:xfrm>
          <a:off x="838200" y="1513574"/>
          <a:ext cx="10515600" cy="13451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26497">
                  <a:extLst>
                    <a:ext uri="{9D8B030D-6E8A-4147-A177-3AD203B41FA5}">
                      <a16:colId xmlns:a16="http://schemas.microsoft.com/office/drawing/2014/main" val="3069027358"/>
                    </a:ext>
                  </a:extLst>
                </a:gridCol>
                <a:gridCol w="2086040">
                  <a:extLst>
                    <a:ext uri="{9D8B030D-6E8A-4147-A177-3AD203B41FA5}">
                      <a16:colId xmlns:a16="http://schemas.microsoft.com/office/drawing/2014/main" val="2029938566"/>
                    </a:ext>
                  </a:extLst>
                </a:gridCol>
                <a:gridCol w="716756">
                  <a:extLst>
                    <a:ext uri="{9D8B030D-6E8A-4147-A177-3AD203B41FA5}">
                      <a16:colId xmlns:a16="http://schemas.microsoft.com/office/drawing/2014/main" val="3462427475"/>
                    </a:ext>
                  </a:extLst>
                </a:gridCol>
                <a:gridCol w="572197">
                  <a:extLst>
                    <a:ext uri="{9D8B030D-6E8A-4147-A177-3AD203B41FA5}">
                      <a16:colId xmlns:a16="http://schemas.microsoft.com/office/drawing/2014/main" val="2730010243"/>
                    </a:ext>
                  </a:extLst>
                </a:gridCol>
                <a:gridCol w="1734159">
                  <a:extLst>
                    <a:ext uri="{9D8B030D-6E8A-4147-A177-3AD203B41FA5}">
                      <a16:colId xmlns:a16="http://schemas.microsoft.com/office/drawing/2014/main" val="2722143739"/>
                    </a:ext>
                  </a:extLst>
                </a:gridCol>
                <a:gridCol w="500675">
                  <a:extLst>
                    <a:ext uri="{9D8B030D-6E8A-4147-A177-3AD203B41FA5}">
                      <a16:colId xmlns:a16="http://schemas.microsoft.com/office/drawing/2014/main" val="3829644099"/>
                    </a:ext>
                  </a:extLst>
                </a:gridCol>
                <a:gridCol w="1599478">
                  <a:extLst>
                    <a:ext uri="{9D8B030D-6E8A-4147-A177-3AD203B41FA5}">
                      <a16:colId xmlns:a16="http://schemas.microsoft.com/office/drawing/2014/main" val="1145227283"/>
                    </a:ext>
                  </a:extLst>
                </a:gridCol>
                <a:gridCol w="1189899">
                  <a:extLst>
                    <a:ext uri="{9D8B030D-6E8A-4147-A177-3AD203B41FA5}">
                      <a16:colId xmlns:a16="http://schemas.microsoft.com/office/drawing/2014/main" val="575430484"/>
                    </a:ext>
                  </a:extLst>
                </a:gridCol>
                <a:gridCol w="1189899">
                  <a:extLst>
                    <a:ext uri="{9D8B030D-6E8A-4147-A177-3AD203B41FA5}">
                      <a16:colId xmlns:a16="http://schemas.microsoft.com/office/drawing/2014/main" val="3926853066"/>
                    </a:ext>
                  </a:extLst>
                </a:gridCol>
              </a:tblGrid>
              <a:tr h="6978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{@</a:t>
                      </a:r>
                      <a:r>
                        <a:rPr lang="en-US" sz="1100" dirty="0" err="1">
                          <a:effectLst/>
                        </a:rPr>
                        <a:t>Craid</a:t>
                      </a:r>
                      <a:r>
                        <a:rPr lang="en-US" sz="1100" dirty="0">
                          <a:effectLst/>
                        </a:rPr>
                        <a:t>}[^Type=Issue]I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Issue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ue 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V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itigation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tatu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wner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Attached Documen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1664960"/>
                  </a:ext>
                </a:extLst>
              </a:tr>
              <a:tr h="6472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#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ShortCod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Title}</a:t>
                      </a:r>
                      <a:endParaRPr lang="en-GB" sz="11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{</a:t>
                      </a:r>
                      <a:r>
                        <a:rPr lang="en-US" sz="1000" dirty="0" err="1">
                          <a:effectLst/>
                        </a:rPr>
                        <a:t>DescriptionPlain</a:t>
                      </a:r>
                      <a:r>
                        <a:rPr lang="en-US" sz="10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</a:t>
                      </a:r>
                      <a:r>
                        <a:rPr lang="en-US" sz="1100" dirty="0" err="1">
                          <a:effectLst/>
                        </a:rPr>
                        <a:t>DueDate</a:t>
                      </a:r>
                      <a:r>
                        <a:rPr lang="en-US" sz="11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Impact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</a:t>
                      </a:r>
                      <a:r>
                        <a:rPr lang="en-US" sz="1100" dirty="0" err="1">
                          <a:effectLst/>
                        </a:rPr>
                        <a:t>MitigationPlain</a:t>
                      </a:r>
                      <a:r>
                        <a:rPr lang="en-US" sz="11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{RAG}[BK_COLOR]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Strapline} </a:t>
                      </a:r>
                      <a:endParaRPr lang="en-GB" sz="1100" dirty="0">
                        <a:effectLst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</a:t>
                      </a:r>
                      <a:r>
                        <a:rPr lang="en-US" sz="1100" dirty="0" err="1">
                          <a:effectLst/>
                        </a:rPr>
                        <a:t>Owner.Name</a:t>
                      </a:r>
                      <a:r>
                        <a:rPr lang="en-US" sz="11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{AttachedDocumentDetails}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91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292264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isk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220D604-5ED5-954B-9339-328D7B08391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3095718"/>
              </p:ext>
            </p:extLst>
          </p:nvPr>
        </p:nvGraphicFramePr>
        <p:xfrm>
          <a:off x="838200" y="1513574"/>
          <a:ext cx="10515600" cy="141732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26497">
                  <a:extLst>
                    <a:ext uri="{9D8B030D-6E8A-4147-A177-3AD203B41FA5}">
                      <a16:colId xmlns:a16="http://schemas.microsoft.com/office/drawing/2014/main" val="3069027358"/>
                    </a:ext>
                  </a:extLst>
                </a:gridCol>
                <a:gridCol w="2086040">
                  <a:extLst>
                    <a:ext uri="{9D8B030D-6E8A-4147-A177-3AD203B41FA5}">
                      <a16:colId xmlns:a16="http://schemas.microsoft.com/office/drawing/2014/main" val="2029938566"/>
                    </a:ext>
                  </a:extLst>
                </a:gridCol>
                <a:gridCol w="716756">
                  <a:extLst>
                    <a:ext uri="{9D8B030D-6E8A-4147-A177-3AD203B41FA5}">
                      <a16:colId xmlns:a16="http://schemas.microsoft.com/office/drawing/2014/main" val="3462427475"/>
                    </a:ext>
                  </a:extLst>
                </a:gridCol>
                <a:gridCol w="572197">
                  <a:extLst>
                    <a:ext uri="{9D8B030D-6E8A-4147-A177-3AD203B41FA5}">
                      <a16:colId xmlns:a16="http://schemas.microsoft.com/office/drawing/2014/main" val="2730010243"/>
                    </a:ext>
                  </a:extLst>
                </a:gridCol>
                <a:gridCol w="1734159">
                  <a:extLst>
                    <a:ext uri="{9D8B030D-6E8A-4147-A177-3AD203B41FA5}">
                      <a16:colId xmlns:a16="http://schemas.microsoft.com/office/drawing/2014/main" val="2722143739"/>
                    </a:ext>
                  </a:extLst>
                </a:gridCol>
                <a:gridCol w="500675">
                  <a:extLst>
                    <a:ext uri="{9D8B030D-6E8A-4147-A177-3AD203B41FA5}">
                      <a16:colId xmlns:a16="http://schemas.microsoft.com/office/drawing/2014/main" val="3829644099"/>
                    </a:ext>
                  </a:extLst>
                </a:gridCol>
                <a:gridCol w="1599478">
                  <a:extLst>
                    <a:ext uri="{9D8B030D-6E8A-4147-A177-3AD203B41FA5}">
                      <a16:colId xmlns:a16="http://schemas.microsoft.com/office/drawing/2014/main" val="1145227283"/>
                    </a:ext>
                  </a:extLst>
                </a:gridCol>
                <a:gridCol w="1189899">
                  <a:extLst>
                    <a:ext uri="{9D8B030D-6E8A-4147-A177-3AD203B41FA5}">
                      <a16:colId xmlns:a16="http://schemas.microsoft.com/office/drawing/2014/main" val="575430484"/>
                    </a:ext>
                  </a:extLst>
                </a:gridCol>
                <a:gridCol w="1189899">
                  <a:extLst>
                    <a:ext uri="{9D8B030D-6E8A-4147-A177-3AD203B41FA5}">
                      <a16:colId xmlns:a16="http://schemas.microsoft.com/office/drawing/2014/main" val="1301092021"/>
                    </a:ext>
                  </a:extLst>
                </a:gridCol>
              </a:tblGrid>
              <a:tr h="69786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{@</a:t>
                      </a:r>
                      <a:r>
                        <a:rPr lang="en-US" sz="1100" dirty="0" err="1">
                          <a:effectLst/>
                        </a:rPr>
                        <a:t>Craid</a:t>
                      </a:r>
                      <a:r>
                        <a:rPr lang="en-US" sz="1100" dirty="0">
                          <a:effectLst/>
                        </a:rPr>
                        <a:t>}[^Type=Risk]ID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isk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ue Date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EV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Mitigation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G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Status</a:t>
                      </a: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Owner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Attached Document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1664960"/>
                  </a:ext>
                </a:extLst>
              </a:tr>
              <a:tr h="6472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#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</a:rPr>
                        <a:t>ShortCod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</a:rPr>
                        <a:t>}</a:t>
                      </a:r>
                      <a:endParaRPr lang="en-GB" sz="11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Title}</a:t>
                      </a:r>
                      <a:endParaRPr lang="en-GB" sz="11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{</a:t>
                      </a:r>
                      <a:r>
                        <a:rPr lang="en-US" sz="1000" dirty="0" err="1">
                          <a:effectLst/>
                        </a:rPr>
                        <a:t>DescriptionPlain</a:t>
                      </a:r>
                      <a:r>
                        <a:rPr lang="en-US" sz="10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</a:t>
                      </a:r>
                      <a:r>
                        <a:rPr lang="en-US" sz="1100" dirty="0" err="1">
                          <a:effectLst/>
                        </a:rPr>
                        <a:t>DueDate</a:t>
                      </a:r>
                      <a:r>
                        <a:rPr lang="en-US" sz="11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Impact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</a:t>
                      </a:r>
                      <a:r>
                        <a:rPr lang="en-US" sz="1100" dirty="0" err="1">
                          <a:effectLst/>
                        </a:rPr>
                        <a:t>MitigationPlain</a:t>
                      </a:r>
                      <a:r>
                        <a:rPr lang="en-US" sz="11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000" dirty="0">
                          <a:effectLst/>
                        </a:rPr>
                        <a:t>{RAG}[BK_COLOR]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Strapline}</a:t>
                      </a:r>
                      <a:endParaRPr lang="en-GB" sz="1100" dirty="0">
                        <a:effectLst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effectLst/>
                        </a:rPr>
                        <a:t>{</a:t>
                      </a:r>
                      <a:r>
                        <a:rPr lang="en-US" sz="1100" dirty="0" err="1">
                          <a:effectLst/>
                        </a:rPr>
                        <a:t>Owner.Name</a:t>
                      </a:r>
                      <a:r>
                        <a:rPr lang="en-US" sz="1100" dirty="0">
                          <a:effectLst/>
                        </a:rPr>
                        <a:t>}</a:t>
                      </a: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{AttachedDocumentDetails}</a:t>
                      </a: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GB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Mangal" panose="02040503050203030202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69175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45915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Act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5EA285C-DD2C-3246-BFF8-4AC13D717B1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3818053"/>
              </p:ext>
            </p:extLst>
          </p:nvPr>
        </p:nvGraphicFramePr>
        <p:xfrm>
          <a:off x="959158" y="1510843"/>
          <a:ext cx="10394641" cy="113788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7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7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54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66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187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18755">
                  <a:extLst>
                    <a:ext uri="{9D8B030D-6E8A-4147-A177-3AD203B41FA5}">
                      <a16:colId xmlns:a16="http://schemas.microsoft.com/office/drawing/2014/main" val="2438168847"/>
                    </a:ext>
                  </a:extLst>
                </a:gridCol>
              </a:tblGrid>
              <a:tr h="4235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@actions}[^Type!=Decision][</a:t>
                      </a:r>
                      <a:r>
                        <a:rPr lang="en-US" sz="11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Row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From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e Date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gned to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Attached Document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93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iner.Nam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{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rtCode</a:t>
                      </a: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 {Title}</a:t>
                      </a:r>
                      <a:endParaRPr lang="en-IN" sz="11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DescriptionPlain}</a:t>
                      </a:r>
                      <a:endParaRPr lang="en-IN" sz="11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eDat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litRow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=2]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gnedTo.Nam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ldren.AssignedTo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Status}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ldren.Status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{AttachedDocumentDetails}</a:t>
                      </a: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444007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1C694C5-C533-2C45-8434-CDCE059B18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pen Decision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BB0E6A9-9968-D44D-9C7C-DE39F0586F0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{</a:t>
            </a:r>
            <a:r>
              <a:rPr lang="en-US" dirty="0" err="1"/>
              <a:t>Project.Name</a:t>
            </a:r>
            <a:r>
              <a:rPr lang="en-US" dirty="0"/>
              <a:t>} 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B98B733-E0CE-6846-8095-AABA7CB79E7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4504152"/>
              </p:ext>
            </p:extLst>
          </p:nvPr>
        </p:nvGraphicFramePr>
        <p:xfrm>
          <a:off x="959158" y="1510843"/>
          <a:ext cx="10394641" cy="113788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974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763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545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3663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518755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518755">
                  <a:extLst>
                    <a:ext uri="{9D8B030D-6E8A-4147-A177-3AD203B41FA5}">
                      <a16:colId xmlns:a16="http://schemas.microsoft.com/office/drawing/2014/main" val="328952164"/>
                    </a:ext>
                  </a:extLst>
                </a:gridCol>
              </a:tblGrid>
              <a:tr h="42351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@actions}[^Type=Decision][</a:t>
                      </a:r>
                      <a:r>
                        <a:rPr lang="en-US" sz="11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Row</a:t>
                      </a: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]From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le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e Date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gned to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tus</a:t>
                      </a: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Attached Document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IN" sz="11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4938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</a:t>
                      </a:r>
                      <a:r>
                        <a:rPr lang="en-US" sz="1100" b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iner.Name</a:t>
                      </a:r>
                      <a:r>
                        <a:rPr lang="en-US" sz="11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#{</a:t>
                      </a: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hortCode</a:t>
                      </a: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 {Title}</a:t>
                      </a:r>
                      <a:endParaRPr lang="en-IN" sz="11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DescriptionPlain}</a:t>
                      </a:r>
                      <a:endParaRPr lang="en-IN" sz="110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ueDat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[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litRow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=2]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gnedTo.Name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ldren.AssignedTo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{Status}{</a:t>
                      </a:r>
                      <a:r>
                        <a:rPr lang="en-US" sz="11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ildren.Status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}</a:t>
                      </a: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Mangal" panose="02040503050203030202" pitchFamily="18" charset="0"/>
                        </a:rPr>
                        <a:t>{AttachedDocumentDetails}</a:t>
                      </a:r>
                    </a:p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IN" sz="11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Times New Roman"/>
                        <a:cs typeface="Arial" panose="020B0604020202020204" pitchFamily="34" charset="0"/>
                      </a:endParaRPr>
                    </a:p>
                  </a:txBody>
                  <a:tcPr marL="57752" marR="57752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88519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0bfJDFBkex053WE9Ykl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015882CE7DF04D812BC337730FB320" ma:contentTypeVersion="13" ma:contentTypeDescription="Create a new document." ma:contentTypeScope="" ma:versionID="249f121c906fef4bb5a74aafc3c43a77">
  <xsd:schema xmlns:xsd="http://www.w3.org/2001/XMLSchema" xmlns:xs="http://www.w3.org/2001/XMLSchema" xmlns:p="http://schemas.microsoft.com/office/2006/metadata/properties" xmlns:ns2="a871bb6f-baa0-48a6-8819-0ffa423091e9" xmlns:ns3="4983dc2a-4562-4b10-819b-ce5765a245b1" targetNamespace="http://schemas.microsoft.com/office/2006/metadata/properties" ma:root="true" ma:fieldsID="e9327dc16fefc92bccedd967caaba014" ns2:_="" ns3:_="">
    <xsd:import namespace="a871bb6f-baa0-48a6-8819-0ffa423091e9"/>
    <xsd:import namespace="4983dc2a-4562-4b10-819b-ce5765a245b1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71bb6f-baa0-48a6-8819-0ffa423091e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983dc2a-4562-4b10-819b-ce5765a245b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E699B75-0B6D-4491-A342-5BA57093FA7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871bb6f-baa0-48a6-8819-0ffa423091e9"/>
    <ds:schemaRef ds:uri="4983dc2a-4562-4b10-819b-ce5765a245b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93103827-FE7E-44C4-9A46-902B2FB8CDB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190FA1-353D-47A1-986E-87EA9FD4C504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02</TotalTime>
  <Words>404</Words>
  <Application>Microsoft Macintosh PowerPoint</Application>
  <PresentationFormat>Widescreen</PresentationFormat>
  <Paragraphs>108</Paragraphs>
  <Slides>8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2" baseType="lpstr">
      <vt:lpstr>Arial</vt:lpstr>
      <vt:lpstr>Calibri</vt:lpstr>
      <vt:lpstr>Calibri Light</vt:lpstr>
      <vt:lpstr>Office Theme</vt:lpstr>
      <vt:lpstr>{Project.Name}</vt:lpstr>
      <vt:lpstr>Status Update</vt:lpstr>
      <vt:lpstr>Roadmap</vt:lpstr>
      <vt:lpstr>Schedule</vt:lpstr>
      <vt:lpstr>Issues</vt:lpstr>
      <vt:lpstr>Risks</vt:lpstr>
      <vt:lpstr>Open Actions</vt:lpstr>
      <vt:lpstr>Open Decis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tine Magnan</dc:creator>
  <cp:lastModifiedBy>Tshegofatso Maselesele</cp:lastModifiedBy>
  <cp:revision>22</cp:revision>
  <dcterms:created xsi:type="dcterms:W3CDTF">2020-06-07T21:04:42Z</dcterms:created>
  <dcterms:modified xsi:type="dcterms:W3CDTF">2023-10-24T09:16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015882CE7DF04D812BC337730FB320</vt:lpwstr>
  </property>
</Properties>
</file>